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8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Caesar </a:t>
            </a:r>
            <a:r>
              <a:rPr lang="en-US" sz="4000" dirty="0" err="1"/>
              <a:t>Vulley</a:t>
            </a:r>
            <a:r>
              <a:rPr lang="en-US" dirty="0"/>
              <a:t>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000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Caesar is currently completing a </a:t>
            </a:r>
            <a:r>
              <a:rPr lang="en-US" sz="1200" dirty="0">
                <a:solidFill>
                  <a:srgbClr val="FF0000"/>
                </a:solidFill>
              </a:rPr>
              <a:t>Master in International Affairs</a:t>
            </a:r>
            <a:r>
              <a:rPr lang="en-US" sz="1200" dirty="0">
                <a:solidFill>
                  <a:prstClr val="black"/>
                </a:solidFill>
              </a:rPr>
              <a:t> specializing in </a:t>
            </a:r>
            <a:r>
              <a:rPr lang="en-US" sz="1200" dirty="0">
                <a:solidFill>
                  <a:srgbClr val="FF0000"/>
                </a:solidFill>
              </a:rPr>
              <a:t>Trade and International Finance</a:t>
            </a:r>
            <a:r>
              <a:rPr lang="en-US" sz="1200" dirty="0">
                <a:solidFill>
                  <a:prstClr val="black"/>
                </a:solidFill>
              </a:rPr>
              <a:t> at the </a:t>
            </a:r>
            <a:r>
              <a:rPr lang="en-US" sz="1200" dirty="0">
                <a:solidFill>
                  <a:srgbClr val="FF0000"/>
                </a:solidFill>
              </a:rPr>
              <a:t>Graduate Institute of International and Development Studies </a:t>
            </a:r>
            <a:r>
              <a:rPr lang="en-US" sz="1200" dirty="0">
                <a:solidFill>
                  <a:prstClr val="black"/>
                </a:solidFill>
              </a:rPr>
              <a:t>(Geneva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holds a </a:t>
            </a:r>
            <a:r>
              <a:rPr lang="en-US" sz="1200" dirty="0">
                <a:solidFill>
                  <a:srgbClr val="FF0000"/>
                </a:solidFill>
              </a:rPr>
              <a:t>BSc in Neuroscience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Bucknell University</a:t>
            </a:r>
            <a:r>
              <a:rPr lang="en-US" sz="1200" dirty="0">
                <a:solidFill>
                  <a:prstClr val="black"/>
                </a:solidFill>
              </a:rPr>
              <a:t> (U.S.A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Caesar is a </a:t>
            </a:r>
            <a:r>
              <a:rPr lang="en-US" sz="1200" dirty="0">
                <a:solidFill>
                  <a:srgbClr val="FF0000"/>
                </a:solidFill>
              </a:rPr>
              <a:t>Young African Leaders Initiative (YALI) Fellow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speaks English, Ewe, Twi, Ga fluently and can have basic conversations in Frenc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7389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Caesar is an international development professional with 5 years of East and West Africa experience in management consulting, entrepreneurship, non-profit leadership, and business development. His current areas of interest include trade, industrial policy, and regional integration in Africa. 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46705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Africa Foresight Group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mpleted nearly a dozen engagements across various sectors including health, agriculture, financial services, sports, renewable energy, ports and logistics, and security servic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ross-cutting experience in several African markets including Tanzania, Rwanda, Nigeria, Cameroon, Ghana, and Liber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Mapped out growth opportunities for a financial services company in Nigeria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 a commercial due diligence on a company in Ghan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ised a restructuring strategy for four firms into a business group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 a commercial due an agricultural inputs and chemicals company in Ghan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signed an </a:t>
            </a:r>
            <a:r>
              <a:rPr lang="en-US" sz="1200" dirty="0" err="1"/>
              <a:t>organisational</a:t>
            </a:r>
            <a:r>
              <a:rPr lang="en-US" sz="1200" dirty="0"/>
              <a:t> transformation plan for a leading business conglomerate in Nigeria with global presence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2 years as Business Advisor at Solutions Consulting, Ghana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Facilitated access to over $12 million in finance for small, medium and large-scale enterprises in the agricultural value chai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concept notes, business plans, project proposals for over one hundred small and medium-sized enterpris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82913BA-E452-3B44-913E-1D25DFBB9C1A}"/>
              </a:ext>
            </a:extLst>
          </p:cNvPr>
          <p:cNvSpPr/>
          <p:nvPr/>
        </p:nvSpPr>
        <p:spPr>
          <a:xfrm>
            <a:off x="8324850" y="440347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Passionate about productive capacity enhancement across the private and public sectors. Excited about promoting inclusive economic growth across Africa through AFG engagements.</a:t>
            </a:r>
          </a:p>
        </p:txBody>
      </p:sp>
      <p:sp>
        <p:nvSpPr>
          <p:cNvPr id="25" name="Rectangle: Single Corner Rounded 24">
            <a:extLst>
              <a:ext uri="{FF2B5EF4-FFF2-40B4-BE49-F238E27FC236}">
                <a16:creationId xmlns:a16="http://schemas.microsoft.com/office/drawing/2014/main" id="{1D36F060-249B-46E5-B35A-D60713D60BCB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A6ED0F6B-6556-46E4-9699-F6CC419185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8F4B5C19-D4A9-4268-86F7-2F322B39E8E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15276943-3099-4EA6-AB73-914AE37489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17FE9C2-E7AB-4BA3-9B1B-9C6198CACC7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DAB6F0AE-1C37-40B2-8A14-959D8FC87C9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8F4CA38-D0B6-40A2-9342-2C81426AD57B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BAFC180-C383-4ECC-966B-17DF8EAF591C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7EC7D1B-456B-4375-AC72-A7DEE9F60DA3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34" name="Graphic 21">
              <a:extLst>
                <a:ext uri="{FF2B5EF4-FFF2-40B4-BE49-F238E27FC236}">
                  <a16:creationId xmlns:a16="http://schemas.microsoft.com/office/drawing/2014/main" id="{1D6ABE45-447A-4859-BFD4-D86A4EA5C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5E04968-EAE7-FB4E-A164-07A669F27DB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6615698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08</Words>
  <Application>Microsoft Macintosh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Caesar Vulley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5:28Z</dcterms:modified>
</cp:coreProperties>
</file>